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67DE1F-BAEF-4765-8E7B-ED5C78BC4E5E}" v="2" dt="2022-09-14T09:55:39.5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782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B47E52-A9E7-4755-B576-B55330854AFF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3643C-3CC0-478F-BDC5-F1961B68D1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187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800" y="274638"/>
            <a:ext cx="4733925" cy="2662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6968C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6968C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135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480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B7DC147D-83DD-40A3-9D14-37BBEAD842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68" y="6001"/>
            <a:ext cx="12181332" cy="6852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GTS_Purple" descr="Accenture Greater Than symbol in purple">
            <a:extLst>
              <a:ext uri="{FF2B5EF4-FFF2-40B4-BE49-F238E27FC236}">
                <a16:creationId xmlns:a16="http://schemas.microsoft.com/office/drawing/2014/main" id="{436FDF76-62D5-45BC-BDD3-DC07D811772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033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7A8B2D-4FA9-4212-B38B-2AE1CE32BB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err="1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8546ADE-103C-4652-A344-9C0C8C49E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800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0EAEA1-D575-4107-8AFC-0CAE2D4FB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b="0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0A237C-DB73-401B-BD5B-B8B9133233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>
                <a:solidFill>
                  <a:sysClr val="windowText" lastClr="000000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GTS_Purple" descr="Accenture Greater Than symbol in purple">
            <a:extLst>
              <a:ext uri="{FF2B5EF4-FFF2-40B4-BE49-F238E27FC236}">
                <a16:creationId xmlns:a16="http://schemas.microsoft.com/office/drawing/2014/main" id="{436FDF76-62D5-45BC-BDD3-DC07D811772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906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FFF88B-A8D9-4485-8A4D-FE5EC47EB2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787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FFF88B-A8D9-4485-8A4D-FE5EC47EB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017" y="392017"/>
            <a:ext cx="11430000" cy="990600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GB"/>
              <a:t>PLACE HEADLINE HERE (28PT, MIN 24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9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2 Accenture. All rights reserved.</a:t>
            </a:r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954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F2E259-8254-4A87-8814-110BCC7B45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2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A94189-672A-4262-8F27-15A75AB674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17A90B-79E1-44F2-9046-0C1157FB4766}"/>
              </a:ext>
            </a:extLst>
          </p:cNvPr>
          <p:cNvSpPr txBox="1"/>
          <p:nvPr/>
        </p:nvSpPr>
        <p:spPr>
          <a:xfrm>
            <a:off x="315311" y="315310"/>
            <a:ext cx="4561489" cy="7462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3600" b="1" dirty="0"/>
              <a:t>Madarapu Bapiraju</a:t>
            </a:r>
            <a:endParaRPr lang="en-US" sz="3600" b="1" noProof="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54BB2F-6583-4D43-9963-027390FDEF14}"/>
              </a:ext>
            </a:extLst>
          </p:cNvPr>
          <p:cNvCxnSpPr>
            <a:cxnSpLocks/>
          </p:cNvCxnSpPr>
          <p:nvPr/>
        </p:nvCxnSpPr>
        <p:spPr>
          <a:xfrm>
            <a:off x="0" y="924910"/>
            <a:ext cx="12192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E50E715-DED1-42C7-A173-76FAF641C8E7}"/>
              </a:ext>
            </a:extLst>
          </p:cNvPr>
          <p:cNvSpPr/>
          <p:nvPr/>
        </p:nvSpPr>
        <p:spPr>
          <a:xfrm>
            <a:off x="278524" y="1145627"/>
            <a:ext cx="1975944" cy="179726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901274-A353-426F-B626-44D5B08C1D5F}"/>
              </a:ext>
            </a:extLst>
          </p:cNvPr>
          <p:cNvCxnSpPr>
            <a:cxnSpLocks/>
          </p:cNvCxnSpPr>
          <p:nvPr/>
        </p:nvCxnSpPr>
        <p:spPr>
          <a:xfrm>
            <a:off x="5907470" y="923393"/>
            <a:ext cx="0" cy="593309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13B688A-E69C-48B2-8460-B644E9D52DFD}"/>
              </a:ext>
            </a:extLst>
          </p:cNvPr>
          <p:cNvSpPr/>
          <p:nvPr/>
        </p:nvSpPr>
        <p:spPr>
          <a:xfrm>
            <a:off x="2448910" y="1145627"/>
            <a:ext cx="3237186" cy="17972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98097EB-F615-43E4-89B2-D508472B28E7}"/>
              </a:ext>
            </a:extLst>
          </p:cNvPr>
          <p:cNvSpPr txBox="1"/>
          <p:nvPr/>
        </p:nvSpPr>
        <p:spPr>
          <a:xfrm>
            <a:off x="2270124" y="1282261"/>
            <a:ext cx="3637347" cy="16817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sz="1400" noProof="0" dirty="0"/>
              <a:t>Application development analyst</a:t>
            </a:r>
          </a:p>
          <a:p>
            <a:pPr algn="l" defTabSz="228600">
              <a:spcAft>
                <a:spcPts val="1200"/>
              </a:spcAft>
            </a:pPr>
            <a:r>
              <a:rPr lang="en-US" sz="1400" noProof="0" dirty="0"/>
              <a:t>Role :Unity developer</a:t>
            </a:r>
          </a:p>
          <a:p>
            <a:pPr algn="l" defTabSz="228600">
              <a:spcAft>
                <a:spcPts val="1200"/>
              </a:spcAft>
            </a:pPr>
            <a:r>
              <a:rPr lang="en-US" sz="1400" dirty="0"/>
              <a:t>Phone : 9390991818</a:t>
            </a:r>
          </a:p>
          <a:p>
            <a:pPr algn="l" defTabSz="228600">
              <a:spcAft>
                <a:spcPts val="1200"/>
              </a:spcAft>
            </a:pPr>
            <a:r>
              <a:rPr lang="en-US" sz="1400" dirty="0" err="1"/>
              <a:t>Email:madarapu.bapiraju@accenture.com</a:t>
            </a:r>
            <a:endParaRPr lang="en-US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682059-6F35-4F6F-B5E3-041FE8BB93B4}"/>
              </a:ext>
            </a:extLst>
          </p:cNvPr>
          <p:cNvSpPr txBox="1"/>
          <p:nvPr/>
        </p:nvSpPr>
        <p:spPr>
          <a:xfrm>
            <a:off x="735724" y="1671145"/>
            <a:ext cx="1061545" cy="7462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dirty="0"/>
              <a:t>     Pic</a:t>
            </a:r>
            <a:endParaRPr lang="en-US" noProof="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4D61129-980F-400F-9A48-9923454C9CAD}"/>
              </a:ext>
            </a:extLst>
          </p:cNvPr>
          <p:cNvSpPr txBox="1"/>
          <p:nvPr/>
        </p:nvSpPr>
        <p:spPr>
          <a:xfrm>
            <a:off x="6212270" y="923394"/>
            <a:ext cx="5486399" cy="514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b="1" noProof="0" dirty="0"/>
              <a:t>SELECTED EXPERIE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AB47DB-60C4-458F-810E-A2D4B9E3CE80}"/>
              </a:ext>
            </a:extLst>
          </p:cNvPr>
          <p:cNvSpPr txBox="1"/>
          <p:nvPr/>
        </p:nvSpPr>
        <p:spPr>
          <a:xfrm>
            <a:off x="278524" y="3103169"/>
            <a:ext cx="2469929" cy="5255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b="1" noProof="0" dirty="0"/>
              <a:t>SKIL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D5517B-DD31-4108-A9D4-7DB45771ECA7}"/>
              </a:ext>
            </a:extLst>
          </p:cNvPr>
          <p:cNvSpPr txBox="1"/>
          <p:nvPr/>
        </p:nvSpPr>
        <p:spPr>
          <a:xfrm>
            <a:off x="236310" y="3465082"/>
            <a:ext cx="5587131" cy="1457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chnologies like NodeJS, MRE,Typescript.</a:t>
            </a: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ols like Unity.</a:t>
            </a:r>
            <a:endParaRPr lang="en-US" sz="1400" dirty="0">
              <a:effectLst/>
              <a:latin typeface="Graphik" panose="020B0503030202060203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oud services of Microsoft Azure.</a:t>
            </a: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bases as Microsoft SQL Server and Postgres</a:t>
            </a: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/CD Tools of Jenkins.</a:t>
            </a: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Graphik" panose="020B050303020206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cking tools as JIRA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2E767A8-E22F-4121-9E93-B8E0FC399CB3}"/>
              </a:ext>
            </a:extLst>
          </p:cNvPr>
          <p:cNvSpPr txBox="1"/>
          <p:nvPr/>
        </p:nvSpPr>
        <p:spPr>
          <a:xfrm>
            <a:off x="262758" y="5332804"/>
            <a:ext cx="2469929" cy="5255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b="1" noProof="0" dirty="0"/>
              <a:t>CERTIFICATION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059B689-3426-4605-842F-671B9B3F4284}"/>
              </a:ext>
            </a:extLst>
          </p:cNvPr>
          <p:cNvSpPr txBox="1"/>
          <p:nvPr/>
        </p:nvSpPr>
        <p:spPr>
          <a:xfrm>
            <a:off x="152283" y="5645145"/>
            <a:ext cx="5755186" cy="1224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AZ-900:Microsoft Azure Fundamentals(2022)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AZ-400</a:t>
            </a:r>
            <a:r>
              <a:rPr lang="en-US" sz="1400" dirty="0">
                <a:solidFill>
                  <a:srgbClr val="000000"/>
                </a:solidFill>
                <a:latin typeface="Graphik" panose="020B0503030202060203" pitchFamily="34" charset="0"/>
              </a:rPr>
              <a:t>: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Designing and Implementing Microsoft DevOps Solutions(2022)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PL-900 :Microsoft Power Platform Fundamentals(2022)</a:t>
            </a:r>
            <a:endParaRPr lang="en-US" sz="140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AZ-104 :Microsoft Azure Administrator(2022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B15E0D-5907-4D40-A281-94BEFA93D228}"/>
              </a:ext>
            </a:extLst>
          </p:cNvPr>
          <p:cNvSpPr txBox="1"/>
          <p:nvPr/>
        </p:nvSpPr>
        <p:spPr>
          <a:xfrm>
            <a:off x="6196614" y="1282261"/>
            <a:ext cx="5995386" cy="5587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Having hands on experience on  Altspace platform to show the features implemented for Metaverse using tools like Unity 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Creating the  tasks and managing the Azure boards in azure portal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Experience on Agile development methodology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Hands on experience in building, designing and maintaining Cloud based applications with Azure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As a DevOps&amp; Cloud Engineer worked in Azure environment, to deploy and manage the Azure services like Virtual Machines, Web Apps,Storage accounts, using PowerShell and Terraform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Maintaining ,branching and tagging the versions across the environments using SCM tool GitHub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Implemented CI/CD pipelines using Azure DevOps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Worked on version control systems like GIT and used source code management client tools like Gitlab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en-US" sz="1400" dirty="0"/>
              <a:t>Worked on Docker containers, attaching to a running container, removing images, managing containers.</a:t>
            </a:r>
          </a:p>
          <a:p>
            <a:pPr marL="137160" indent="-137160" eaLnBrk="0" hangingPunct="0">
              <a:lnSpc>
                <a:spcPct val="15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E0785C-4476-C932-1D44-F28094A5C1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523" y="1140096"/>
            <a:ext cx="1966216" cy="179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230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Graphik_Fixed-Accessibility_20220110" id="{C5903050-33F9-3B47-BADC-1229EE1B2C4D}" vid="{58290BE2-F0E8-CC4F-AE12-B5C3653AD7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253</Words>
  <Application>Microsoft Office PowerPoint</Application>
  <PresentationFormat>Widescreen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raphik</vt:lpstr>
      <vt:lpstr>Accenture 2020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krishnan, Shubha</dc:creator>
  <cp:lastModifiedBy>Bapiraju, Madarapu</cp:lastModifiedBy>
  <cp:revision>7</cp:revision>
  <dcterms:created xsi:type="dcterms:W3CDTF">2022-09-13T12:33:11Z</dcterms:created>
  <dcterms:modified xsi:type="dcterms:W3CDTF">2022-09-14T10:24:00Z</dcterms:modified>
</cp:coreProperties>
</file>